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customXml/itemProps2.xml" ContentType="application/vnd.openxmlformats-officedocument.customXmlProperties+xml"/>
  <Override PartName="/ppt/tags/tag109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10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28.xml" ContentType="application/vnd.openxmlformats-officedocument.presentationml.tags+xml"/>
  <Override PartName="/docProps/custom.xml" ContentType="application/vnd.openxmlformats-officedocument.custom-properties+xml"/>
  <Override PartName="/ppt/tags/tag111.xml" ContentType="application/vnd.openxmlformats-officedocument.presentationml.tags+xml"/>
  <Override PartName="/ppt/tags/tag114.xml" ContentType="application/vnd.openxmlformats-officedocument.presentationml.tags+xml"/>
  <Override PartName="/ppt/tags/tag107.xml" ContentType="application/vnd.openxmlformats-officedocument.presentationml.tags+xml"/>
  <Override PartName="/ppt/tags/tag130.xml" ContentType="application/vnd.openxmlformats-officedocument.presentationml.tags+xml"/>
  <Override PartName="/ppt/tags/tag129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tags/tag106.xml" ContentType="application/vnd.openxmlformats-officedocument.presentationml.tags+xml"/>
  <Override PartName="/ppt/tags/tag108.xml" ContentType="application/vnd.openxmlformats-officedocument.presentationml.tags+xml"/>
  <Override PartName="/ppt/tags/tag116.xml" ContentType="application/vnd.openxmlformats-officedocument.presentationml.tags+xml"/>
  <Override PartName="/ppt/tags/tag131.xml" ContentType="application/vnd.openxmlformats-officedocument.presentationml.tags+xml"/>
  <Override PartName="/ppt/tags/tag126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5.xml" ContentType="application/vnd.openxmlformats-officedocument.presentationml.tags+xml"/>
  <Override PartName="/customXml/itemProps1.xml" ContentType="application/vnd.openxmlformats-officedocument.customXmlProperties+xml"/>
  <Override PartName="/ppt/tags/tag124.xml" ContentType="application/vnd.openxmlformats-officedocument.presentationml.tags+xml"/>
  <Override PartName="/customXml/itemProps3.xml" ContentType="application/vnd.openxmlformats-officedocument.customXmlProperties+xml"/>
  <Override PartName="/ppt/tags/tag102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7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15.xml" ContentType="application/vnd.openxmlformats-officedocument.presentationml.tags+xml"/>
  <Override PartName="/ppt/tags/tag76.xml" ContentType="application/vnd.openxmlformats-officedocument.presentationml.tags+xml"/>
  <Override PartName="/ppt/tags/tag100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2.xml" ContentType="application/vnd.openxmlformats-officedocument.presentationml.tags+xml"/>
  <Override PartName="/ppt/tags/tag81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95.xml" ContentType="application/vnd.openxmlformats-officedocument.presentationml.tags+xml"/>
  <Override PartName="/ppt/tags/tag94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91.xml" ContentType="application/vnd.openxmlformats-officedocument.presentationml.tags+xml"/>
  <Override PartName="/ppt/tags/tag90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101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62" r:id="rId5"/>
    <p:sldId id="328" r:id="rId6"/>
    <p:sldId id="305" r:id="rId7"/>
    <p:sldId id="325" r:id="rId8"/>
    <p:sldId id="323" r:id="rId9"/>
    <p:sldId id="316" r:id="rId10"/>
    <p:sldId id="324" r:id="rId11"/>
    <p:sldId id="329" r:id="rId12"/>
  </p:sldIdLst>
  <p:sldSz cx="12192000" cy="6858000"/>
  <p:notesSz cx="6858000" cy="9144000"/>
  <p:custDataLst>
    <p:tags r:id="rId15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442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7319" userDrawn="1">
          <p15:clr>
            <a:srgbClr val="A4A3A4"/>
          </p15:clr>
        </p15:guide>
        <p15:guide id="6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DB"/>
    <a:srgbClr val="0A74F4"/>
    <a:srgbClr val="002C77"/>
    <a:srgbClr val="333333"/>
    <a:srgbClr val="BFDBFD"/>
    <a:srgbClr val="AED1FC"/>
    <a:srgbClr val="A3CBFB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615C5E-A398-4993-99E9-88F9A6E143B0}" v="3" dt="2021-06-24T15:28:17.0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340" autoAdjust="0"/>
    <p:restoredTop sz="91781" autoAdjust="0"/>
  </p:normalViewPr>
  <p:slideViewPr>
    <p:cSldViewPr snapToObjects="1" showGuides="1">
      <p:cViewPr varScale="1">
        <p:scale>
          <a:sx n="79" d="100"/>
          <a:sy n="79" d="100"/>
        </p:scale>
        <p:origin x="374" y="77"/>
      </p:cViewPr>
      <p:guideLst>
        <p:guide orient="horz" pos="193"/>
        <p:guide orient="horz" pos="4110"/>
        <p:guide orient="horz" pos="442"/>
        <p:guide orient="horz" pos="1026"/>
        <p:guide pos="7319"/>
        <p:guide pos="3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openxmlformats.org/officeDocument/2006/relationships/customXml" Target="../customXml/item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cciola Marina" userId="e53a77a2-833b-403e-9e04-943cca3605db" providerId="ADAL" clId="{2B615C5E-A398-4993-99E9-88F9A6E143B0}"/>
    <pc:docChg chg="undo custSel addSld delSld modSld sldOrd">
      <pc:chgData name="Lucciola Marina" userId="e53a77a2-833b-403e-9e04-943cca3605db" providerId="ADAL" clId="{2B615C5E-A398-4993-99E9-88F9A6E143B0}" dt="2021-06-24T16:00:20.707" v="969" actId="20577"/>
      <pc:docMkLst>
        <pc:docMk/>
      </pc:docMkLst>
      <pc:sldChg chg="modSp mod">
        <pc:chgData name="Lucciola Marina" userId="e53a77a2-833b-403e-9e04-943cca3605db" providerId="ADAL" clId="{2B615C5E-A398-4993-99E9-88F9A6E143B0}" dt="2021-06-24T16:00:20.707" v="969" actId="20577"/>
        <pc:sldMkLst>
          <pc:docMk/>
          <pc:sldMk cId="0" sldId="262"/>
        </pc:sldMkLst>
        <pc:spChg chg="mod">
          <ac:chgData name="Lucciola Marina" userId="e53a77a2-833b-403e-9e04-943cca3605db" providerId="ADAL" clId="{2B615C5E-A398-4993-99E9-88F9A6E143B0}" dt="2021-06-24T15:16:19.743" v="81" actId="20577"/>
          <ac:spMkLst>
            <pc:docMk/>
            <pc:sldMk cId="0" sldId="262"/>
            <ac:spMk id="9219" creationId="{00000000-0000-0000-0000-000000000000}"/>
          </ac:spMkLst>
        </pc:spChg>
        <pc:spChg chg="mod">
          <ac:chgData name="Lucciola Marina" userId="e53a77a2-833b-403e-9e04-943cca3605db" providerId="ADAL" clId="{2B615C5E-A398-4993-99E9-88F9A6E143B0}" dt="2021-06-24T16:00:20.707" v="969" actId="20577"/>
          <ac:spMkLst>
            <pc:docMk/>
            <pc:sldMk cId="0" sldId="262"/>
            <ac:spMk id="9220" creationId="{00000000-0000-0000-0000-000000000000}"/>
          </ac:spMkLst>
        </pc:spChg>
      </pc:sldChg>
      <pc:sldChg chg="modSp mod">
        <pc:chgData name="Lucciola Marina" userId="e53a77a2-833b-403e-9e04-943cca3605db" providerId="ADAL" clId="{2B615C5E-A398-4993-99E9-88F9A6E143B0}" dt="2021-06-24T15:18:36.838" v="224" actId="20577"/>
        <pc:sldMkLst>
          <pc:docMk/>
          <pc:sldMk cId="0" sldId="305"/>
        </pc:sldMkLst>
        <pc:spChg chg="mod">
          <ac:chgData name="Lucciola Marina" userId="e53a77a2-833b-403e-9e04-943cca3605db" providerId="ADAL" clId="{2B615C5E-A398-4993-99E9-88F9A6E143B0}" dt="2021-06-24T15:18:12.871" v="163" actId="20577"/>
          <ac:spMkLst>
            <pc:docMk/>
            <pc:sldMk cId="0" sldId="305"/>
            <ac:spMk id="51202" creationId="{00000000-0000-0000-0000-000000000000}"/>
          </ac:spMkLst>
        </pc:spChg>
        <pc:spChg chg="mod">
          <ac:chgData name="Lucciola Marina" userId="e53a77a2-833b-403e-9e04-943cca3605db" providerId="ADAL" clId="{2B615C5E-A398-4993-99E9-88F9A6E143B0}" dt="2021-06-24T15:18:36.838" v="224" actId="20577"/>
          <ac:spMkLst>
            <pc:docMk/>
            <pc:sldMk cId="0" sldId="305"/>
            <ac:spMk id="51203" creationId="{00000000-0000-0000-0000-000000000000}"/>
          </ac:spMkLst>
        </pc:spChg>
      </pc:sldChg>
      <pc:sldChg chg="modSp mod">
        <pc:chgData name="Lucciola Marina" userId="e53a77a2-833b-403e-9e04-943cca3605db" providerId="ADAL" clId="{2B615C5E-A398-4993-99E9-88F9A6E143B0}" dt="2021-06-24T15:26:42.885" v="783" actId="20577"/>
        <pc:sldMkLst>
          <pc:docMk/>
          <pc:sldMk cId="4088494832" sldId="316"/>
        </pc:sldMkLst>
        <pc:spChg chg="mod">
          <ac:chgData name="Lucciola Marina" userId="e53a77a2-833b-403e-9e04-943cca3605db" providerId="ADAL" clId="{2B615C5E-A398-4993-99E9-88F9A6E143B0}" dt="2021-06-24T15:25:35.204" v="689" actId="20577"/>
          <ac:spMkLst>
            <pc:docMk/>
            <pc:sldMk cId="4088494832" sldId="316"/>
            <ac:spMk id="3" creationId="{8BE3E11A-B404-4107-9E16-4C9E7222CC3E}"/>
          </ac:spMkLst>
        </pc:spChg>
        <pc:spChg chg="mod">
          <ac:chgData name="Lucciola Marina" userId="e53a77a2-833b-403e-9e04-943cca3605db" providerId="ADAL" clId="{2B615C5E-A398-4993-99E9-88F9A6E143B0}" dt="2021-06-24T15:24:27.329" v="622" actId="20577"/>
          <ac:spMkLst>
            <pc:docMk/>
            <pc:sldMk cId="4088494832" sldId="316"/>
            <ac:spMk id="8" creationId="{3266AE85-A025-4D53-A50F-F670661FE511}"/>
          </ac:spMkLst>
        </pc:spChg>
        <pc:spChg chg="mod">
          <ac:chgData name="Lucciola Marina" userId="e53a77a2-833b-403e-9e04-943cca3605db" providerId="ADAL" clId="{2B615C5E-A398-4993-99E9-88F9A6E143B0}" dt="2021-06-24T15:24:07.247" v="614" actId="6549"/>
          <ac:spMkLst>
            <pc:docMk/>
            <pc:sldMk cId="4088494832" sldId="316"/>
            <ac:spMk id="26" creationId="{00000000-0000-0000-0000-000000000000}"/>
          </ac:spMkLst>
        </pc:spChg>
        <pc:graphicFrameChg chg="modGraphic">
          <ac:chgData name="Lucciola Marina" userId="e53a77a2-833b-403e-9e04-943cca3605db" providerId="ADAL" clId="{2B615C5E-A398-4993-99E9-88F9A6E143B0}" dt="2021-06-24T15:26:42.885" v="783" actId="20577"/>
          <ac:graphicFrameMkLst>
            <pc:docMk/>
            <pc:sldMk cId="4088494832" sldId="316"/>
            <ac:graphicFrameMk id="2" creationId="{31821BAF-164E-4AAD-AD37-8B335D05EAAD}"/>
          </ac:graphicFrameMkLst>
        </pc:graphicFrameChg>
      </pc:sldChg>
      <pc:sldChg chg="del">
        <pc:chgData name="Lucciola Marina" userId="e53a77a2-833b-403e-9e04-943cca3605db" providerId="ADAL" clId="{2B615C5E-A398-4993-99E9-88F9A6E143B0}" dt="2021-06-24T15:28:21.468" v="965" actId="2696"/>
        <pc:sldMkLst>
          <pc:docMk/>
          <pc:sldMk cId="128338780" sldId="320"/>
        </pc:sldMkLst>
      </pc:sldChg>
      <pc:sldChg chg="del">
        <pc:chgData name="Lucciola Marina" userId="e53a77a2-833b-403e-9e04-943cca3605db" providerId="ADAL" clId="{2B615C5E-A398-4993-99E9-88F9A6E143B0}" dt="2021-06-24T15:17:55.526" v="148" actId="2696"/>
        <pc:sldMkLst>
          <pc:docMk/>
          <pc:sldMk cId="1338897960" sldId="321"/>
        </pc:sldMkLst>
      </pc:sldChg>
      <pc:sldChg chg="modSp mod">
        <pc:chgData name="Lucciola Marina" userId="e53a77a2-833b-403e-9e04-943cca3605db" providerId="ADAL" clId="{2B615C5E-A398-4993-99E9-88F9A6E143B0}" dt="2021-06-24T15:23:21.432" v="540" actId="20577"/>
        <pc:sldMkLst>
          <pc:docMk/>
          <pc:sldMk cId="2205667645" sldId="323"/>
        </pc:sldMkLst>
        <pc:spChg chg="mod">
          <ac:chgData name="Lucciola Marina" userId="e53a77a2-833b-403e-9e04-943cca3605db" providerId="ADAL" clId="{2B615C5E-A398-4993-99E9-88F9A6E143B0}" dt="2021-06-24T15:23:21.432" v="540" actId="20577"/>
          <ac:spMkLst>
            <pc:docMk/>
            <pc:sldMk cId="2205667645" sldId="323"/>
            <ac:spMk id="6" creationId="{2FA4D288-986E-4756-81E1-26B1E51379D7}"/>
          </ac:spMkLst>
        </pc:spChg>
        <pc:spChg chg="mod">
          <ac:chgData name="Lucciola Marina" userId="e53a77a2-833b-403e-9e04-943cca3605db" providerId="ADAL" clId="{2B615C5E-A398-4993-99E9-88F9A6E143B0}" dt="2021-06-24T15:21:50.594" v="415" actId="20577"/>
          <ac:spMkLst>
            <pc:docMk/>
            <pc:sldMk cId="2205667645" sldId="323"/>
            <ac:spMk id="26" creationId="{00000000-0000-0000-0000-000000000000}"/>
          </ac:spMkLst>
        </pc:spChg>
        <pc:spChg chg="mod">
          <ac:chgData name="Lucciola Marina" userId="e53a77a2-833b-403e-9e04-943cca3605db" providerId="ADAL" clId="{2B615C5E-A398-4993-99E9-88F9A6E143B0}" dt="2021-06-24T15:23:15.509" v="538" actId="20577"/>
          <ac:spMkLst>
            <pc:docMk/>
            <pc:sldMk cId="2205667645" sldId="323"/>
            <ac:spMk id="28" creationId="{00000000-0000-0000-0000-000000000000}"/>
          </ac:spMkLst>
        </pc:spChg>
      </pc:sldChg>
      <pc:sldChg chg="modSp mod">
        <pc:chgData name="Lucciola Marina" userId="e53a77a2-833b-403e-9e04-943cca3605db" providerId="ADAL" clId="{2B615C5E-A398-4993-99E9-88F9A6E143B0}" dt="2021-06-24T15:28:03.391" v="963" actId="20577"/>
        <pc:sldMkLst>
          <pc:docMk/>
          <pc:sldMk cId="4110285406" sldId="324"/>
        </pc:sldMkLst>
        <pc:spChg chg="mod">
          <ac:chgData name="Lucciola Marina" userId="e53a77a2-833b-403e-9e04-943cca3605db" providerId="ADAL" clId="{2B615C5E-A398-4993-99E9-88F9A6E143B0}" dt="2021-06-24T15:28:03.391" v="963" actId="20577"/>
          <ac:spMkLst>
            <pc:docMk/>
            <pc:sldMk cId="4110285406" sldId="324"/>
            <ac:spMk id="3" creationId="{8BE3E11A-B404-4107-9E16-4C9E7222CC3E}"/>
          </ac:spMkLst>
        </pc:spChg>
        <pc:spChg chg="mod">
          <ac:chgData name="Lucciola Marina" userId="e53a77a2-833b-403e-9e04-943cca3605db" providerId="ADAL" clId="{2B615C5E-A398-4993-99E9-88F9A6E143B0}" dt="2021-06-24T15:27:13.048" v="822" actId="20577"/>
          <ac:spMkLst>
            <pc:docMk/>
            <pc:sldMk cId="4110285406" sldId="324"/>
            <ac:spMk id="8" creationId="{3266AE85-A025-4D53-A50F-F670661FE511}"/>
          </ac:spMkLst>
        </pc:spChg>
        <pc:spChg chg="mod">
          <ac:chgData name="Lucciola Marina" userId="e53a77a2-833b-403e-9e04-943cca3605db" providerId="ADAL" clId="{2B615C5E-A398-4993-99E9-88F9A6E143B0}" dt="2021-06-24T15:27:04.148" v="808" actId="20577"/>
          <ac:spMkLst>
            <pc:docMk/>
            <pc:sldMk cId="4110285406" sldId="324"/>
            <ac:spMk id="26" creationId="{00000000-0000-0000-0000-000000000000}"/>
          </ac:spMkLst>
        </pc:spChg>
      </pc:sldChg>
      <pc:sldChg chg="modSp mod">
        <pc:chgData name="Lucciola Marina" userId="e53a77a2-833b-403e-9e04-943cca3605db" providerId="ADAL" clId="{2B615C5E-A398-4993-99E9-88F9A6E143B0}" dt="2021-06-24T15:21:23.562" v="403" actId="20577"/>
        <pc:sldMkLst>
          <pc:docMk/>
          <pc:sldMk cId="4255451071" sldId="325"/>
        </pc:sldMkLst>
        <pc:spChg chg="mod">
          <ac:chgData name="Lucciola Marina" userId="e53a77a2-833b-403e-9e04-943cca3605db" providerId="ADAL" clId="{2B615C5E-A398-4993-99E9-88F9A6E143B0}" dt="2021-06-24T15:19:24.490" v="277" actId="6549"/>
          <ac:spMkLst>
            <pc:docMk/>
            <pc:sldMk cId="4255451071" sldId="325"/>
            <ac:spMk id="7" creationId="{5C23A37C-5D3A-4E0E-B419-1A49BC6FE176}"/>
          </ac:spMkLst>
        </pc:spChg>
        <pc:spChg chg="mod">
          <ac:chgData name="Lucciola Marina" userId="e53a77a2-833b-403e-9e04-943cca3605db" providerId="ADAL" clId="{2B615C5E-A398-4993-99E9-88F9A6E143B0}" dt="2021-06-24T15:19:06.707" v="245" actId="20577"/>
          <ac:spMkLst>
            <pc:docMk/>
            <pc:sldMk cId="4255451071" sldId="325"/>
            <ac:spMk id="8" creationId="{613F87F6-20D5-46BD-A4F9-F025F77B1C94}"/>
          </ac:spMkLst>
        </pc:spChg>
        <pc:spChg chg="mod">
          <ac:chgData name="Lucciola Marina" userId="e53a77a2-833b-403e-9e04-943cca3605db" providerId="ADAL" clId="{2B615C5E-A398-4993-99E9-88F9A6E143B0}" dt="2021-06-24T15:19:41.468" v="300" actId="20577"/>
          <ac:spMkLst>
            <pc:docMk/>
            <pc:sldMk cId="4255451071" sldId="325"/>
            <ac:spMk id="10" creationId="{05F7A088-AB83-4536-977C-BAE8B220A093}"/>
          </ac:spMkLst>
        </pc:spChg>
        <pc:spChg chg="mod">
          <ac:chgData name="Lucciola Marina" userId="e53a77a2-833b-403e-9e04-943cca3605db" providerId="ADAL" clId="{2B615C5E-A398-4993-99E9-88F9A6E143B0}" dt="2021-06-24T15:18:59.889" v="236" actId="6549"/>
          <ac:spMkLst>
            <pc:docMk/>
            <pc:sldMk cId="4255451071" sldId="325"/>
            <ac:spMk id="16" creationId="{9F8499DF-CB61-4020-BC7F-02C937981DD2}"/>
          </ac:spMkLst>
        </pc:spChg>
        <pc:spChg chg="mod">
          <ac:chgData name="Lucciola Marina" userId="e53a77a2-833b-403e-9e04-943cca3605db" providerId="ADAL" clId="{2B615C5E-A398-4993-99E9-88F9A6E143B0}" dt="2021-06-24T15:18:56.903" v="235" actId="20577"/>
          <ac:spMkLst>
            <pc:docMk/>
            <pc:sldMk cId="4255451071" sldId="325"/>
            <ac:spMk id="26" creationId="{00000000-0000-0000-0000-000000000000}"/>
          </ac:spMkLst>
        </pc:spChg>
        <pc:graphicFrameChg chg="modGraphic">
          <ac:chgData name="Lucciola Marina" userId="e53a77a2-833b-403e-9e04-943cca3605db" providerId="ADAL" clId="{2B615C5E-A398-4993-99E9-88F9A6E143B0}" dt="2021-06-24T15:21:23.562" v="403" actId="20577"/>
          <ac:graphicFrameMkLst>
            <pc:docMk/>
            <pc:sldMk cId="4255451071" sldId="325"/>
            <ac:graphicFrameMk id="6" creationId="{A75AD644-A7DE-4F20-8545-0A69CA47626D}"/>
          </ac:graphicFrameMkLst>
        </pc:graphicFrameChg>
      </pc:sldChg>
      <pc:sldChg chg="add del ord">
        <pc:chgData name="Lucciola Marina" userId="e53a77a2-833b-403e-9e04-943cca3605db" providerId="ADAL" clId="{2B615C5E-A398-4993-99E9-88F9A6E143B0}" dt="2021-06-24T15:15:33.591" v="5" actId="2696"/>
        <pc:sldMkLst>
          <pc:docMk/>
          <pc:sldMk cId="0" sldId="327"/>
        </pc:sldMkLst>
      </pc:sldChg>
      <pc:sldChg chg="add">
        <pc:chgData name="Lucciola Marina" userId="e53a77a2-833b-403e-9e04-943cca3605db" providerId="ADAL" clId="{2B615C5E-A398-4993-99E9-88F9A6E143B0}" dt="2021-06-24T15:17:51.365" v="147"/>
        <pc:sldMkLst>
          <pc:docMk/>
          <pc:sldMk cId="613293404" sldId="328"/>
        </pc:sldMkLst>
      </pc:sldChg>
      <pc:sldChg chg="add">
        <pc:chgData name="Lucciola Marina" userId="e53a77a2-833b-403e-9e04-943cca3605db" providerId="ADAL" clId="{2B615C5E-A398-4993-99E9-88F9A6E143B0}" dt="2021-06-24T15:28:17.055" v="964"/>
        <pc:sldMkLst>
          <pc:docMk/>
          <pc:sldMk cId="3732964468" sldId="329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951D708-58E8-46F8-BEEF-281273C3A9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B432744-88D4-40C8-B231-D1FB6CA91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19AD6-007D-4130-A35E-1F8B30CD8562}" type="datetimeFigureOut">
              <a:rPr lang="fr-CH" smtClean="0"/>
              <a:t>28.06.2021</a:t>
            </a:fld>
            <a:endParaRPr lang="fr-CH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4A8ADD-B12E-4C6E-86B9-03B665389B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4FF542-F62A-4F45-8F98-1D0B58BD5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CB01F-727C-4EB0-9DCD-FCC2C3D035A9}" type="slidenum">
              <a:rPr lang="fr-CH" smtClean="0"/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2387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28.06.2021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360841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23420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749503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372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1459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fr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001" y="417600"/>
            <a:ext cx="1727584" cy="594000"/>
          </a:xfrm>
          <a:prstGeom prst="rect">
            <a:avLst/>
          </a:prstGeom>
        </p:spPr>
      </p:pic>
      <p:pic>
        <p:nvPicPr>
          <p:cNvPr id="7" name="Image 6" descr="https://www.innosquare.com/media/1139/logo_npr_f_black_horizontal_screen.png">
            <a:extLst>
              <a:ext uri="{FF2B5EF4-FFF2-40B4-BE49-F238E27FC236}">
                <a16:creationId xmlns:a16="http://schemas.microsoft.com/office/drawing/2014/main" id="{DD0C38E5-DAF3-4194-A93C-C209A5E56D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389467"/>
            <a:ext cx="1263390" cy="7241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5065205-618F-4284-B0E6-F3ECF85EE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DDD05F-6F63-41B7-AAC6-E59A08452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309320"/>
            <a:ext cx="535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79614" y="1982093"/>
            <a:ext cx="8289925" cy="1897955"/>
          </a:xfrm>
        </p:spPr>
        <p:txBody>
          <a:bodyPr/>
          <a:lstStyle/>
          <a:p>
            <a:pPr eaLnBrk="1" hangingPunct="1"/>
            <a:r>
              <a:rPr lang="fr-CH" sz="2000" b="0" dirty="0" err="1"/>
              <a:t>Presentation</a:t>
            </a:r>
            <a:r>
              <a:rPr lang="fr-CH" sz="2000" b="0" dirty="0"/>
              <a:t> of the </a:t>
            </a:r>
            <a:r>
              <a:rPr lang="fr-CH" sz="2000" b="0" dirty="0" err="1"/>
              <a:t>results</a:t>
            </a:r>
            <a:r>
              <a:rPr lang="fr-CH" sz="2000" b="0" dirty="0"/>
              <a:t> of the collaborative </a:t>
            </a:r>
            <a:r>
              <a:rPr lang="fr-CH" sz="2000" b="0" dirty="0" err="1"/>
              <a:t>project</a:t>
            </a:r>
            <a:br>
              <a:rPr lang="fr-CH" dirty="0"/>
            </a:br>
            <a:r>
              <a:rPr lang="fr-CH" dirty="0"/>
              <a:t>Project </a:t>
            </a:r>
            <a:r>
              <a:rPr lang="fr-CH" dirty="0" err="1"/>
              <a:t>title</a:t>
            </a:r>
            <a:br>
              <a:rPr lang="fr-CH" dirty="0"/>
            </a:br>
            <a:r>
              <a:rPr lang="fr-CH" sz="2000" b="0" dirty="0" err="1"/>
              <a:t>Acronym</a:t>
            </a:r>
            <a:r>
              <a:rPr lang="fr-CH" sz="2000" b="0" dirty="0"/>
              <a:t> : 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9220" name="Textplatzhalter 1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79614" y="3998094"/>
            <a:ext cx="8652890" cy="1538883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fr-CH" sz="2000" dirty="0"/>
              <a:t>CAPE session of </a:t>
            </a:r>
            <a:r>
              <a:rPr lang="fr-CH" sz="2000" dirty="0">
                <a:highlight>
                  <a:srgbClr val="FFFF00"/>
                </a:highlight>
              </a:rPr>
              <a:t>dd mmm </a:t>
            </a:r>
            <a:r>
              <a:rPr lang="fr-CH" sz="2000" dirty="0" err="1">
                <a:highlight>
                  <a:srgbClr val="FFFF00"/>
                </a:highlight>
              </a:rPr>
              <a:t>yyyy</a:t>
            </a:r>
            <a:endParaRPr lang="fr-CH" sz="2000" dirty="0">
              <a:highlight>
                <a:srgbClr val="FFFF00"/>
              </a:highlight>
            </a:endParaRPr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 eaLnBrk="1" hangingPunct="1">
              <a:spcAft>
                <a:spcPct val="0"/>
              </a:spcAft>
            </a:pPr>
            <a:r>
              <a:rPr lang="fr-CH" sz="2000" dirty="0"/>
              <a:t>						</a:t>
            </a:r>
            <a:r>
              <a:rPr lang="fr-CH" sz="2000" dirty="0">
                <a:highlight>
                  <a:srgbClr val="FFFF00"/>
                </a:highlight>
              </a:rPr>
              <a:t>First Name, Name, Position, High </a:t>
            </a:r>
            <a:r>
              <a:rPr lang="fr-CH" sz="2000" dirty="0" err="1">
                <a:highlight>
                  <a:srgbClr val="FFFF00"/>
                </a:highlight>
              </a:rPr>
              <a:t>school</a:t>
            </a:r>
            <a:r>
              <a:rPr lang="fr-CH" sz="2000" dirty="0">
                <a:highlight>
                  <a:srgbClr val="FFFF00"/>
                </a:highlight>
              </a:rPr>
              <a:t> / Institute</a:t>
            </a:r>
            <a:br>
              <a:rPr lang="fr-CH" sz="2000" dirty="0">
                <a:highlight>
                  <a:srgbClr val="FFFF00"/>
                </a:highlight>
              </a:rPr>
            </a:br>
            <a:r>
              <a:rPr lang="fr-CH" sz="2000" dirty="0"/>
              <a:t>						</a:t>
            </a:r>
            <a:r>
              <a:rPr lang="fr-CH" sz="2000" dirty="0">
                <a:highlight>
                  <a:srgbClr val="FFFF00"/>
                </a:highlight>
              </a:rPr>
              <a:t>First Name, Name, Position, Compagny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2163CB-F6A9-4557-A0D8-DA3E993DF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>
                <a:solidFill>
                  <a:srgbClr val="3673B9"/>
                </a:solidFill>
              </a:rPr>
              <a:t>Information for the </a:t>
            </a:r>
            <a:r>
              <a:rPr lang="fr-CH" dirty="0" err="1">
                <a:solidFill>
                  <a:srgbClr val="3673B9"/>
                </a:solidFill>
              </a:rPr>
              <a:t>presenters</a:t>
            </a:r>
            <a:br>
              <a:rPr lang="fr-CH" dirty="0">
                <a:solidFill>
                  <a:srgbClr val="3673B9"/>
                </a:solidFill>
              </a:rPr>
            </a:br>
            <a:r>
              <a:rPr lang="fr-CH" dirty="0">
                <a:solidFill>
                  <a:srgbClr val="3673B9"/>
                </a:solidFill>
              </a:rPr>
              <a:t>(slide to be deleted)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15AAC-DAC1-4475-BCC8-A72E0B473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7031" y="1844824"/>
            <a:ext cx="10989733" cy="2108269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You have 10 minutes of presentation and 10 minutes of Questions &amp; Answers (not 1 more minute!)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The presentation template is imposed to ensure better time management and standardize the information presented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It is recommended to have the presence of the academic project leader and an industrial partner for the presentation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Keep in mind that the CAPE audience is not necessarily technical, it is important to simplify the technical information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INNOSQUARE is at your disposal to support you in the preparation of your present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The presentation in PDF format must be sent at the latest the day before the CAPE to Mr Alain Lunghi, </a:t>
            </a:r>
            <a:r>
              <a:rPr lang="en-GB" sz="1600" dirty="0">
                <a:solidFill>
                  <a:srgbClr val="3673B9"/>
                </a:solidFill>
              </a:rPr>
              <a:t>Head of NRP for the Canton of Fribourg</a:t>
            </a:r>
            <a:r>
              <a:rPr lang="en-US" sz="1600" dirty="0">
                <a:solidFill>
                  <a:srgbClr val="3673B9"/>
                </a:solidFill>
              </a:rPr>
              <a:t> (Alain.Lunghi@fr.ch).</a:t>
            </a:r>
            <a:endParaRPr lang="fr-CH" sz="1600" dirty="0">
              <a:solidFill>
                <a:srgbClr val="3673B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3293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 err="1"/>
              <a:t>Summary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1203" name="Rectangle 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225380" y="2420888"/>
            <a:ext cx="8242300" cy="1477328"/>
          </a:xfrm>
        </p:spPr>
        <p:txBody>
          <a:bodyPr/>
          <a:lstStyle/>
          <a:p>
            <a:r>
              <a:rPr lang="fr-CH" sz="2400" dirty="0" err="1"/>
              <a:t>Presentation</a:t>
            </a:r>
            <a:r>
              <a:rPr lang="fr-CH" sz="2400" dirty="0"/>
              <a:t> of the </a:t>
            </a:r>
            <a:r>
              <a:rPr lang="fr-CH" sz="2400" dirty="0" err="1"/>
              <a:t>project</a:t>
            </a:r>
            <a:endParaRPr lang="fr-CH" sz="2400" dirty="0"/>
          </a:p>
          <a:p>
            <a:r>
              <a:rPr lang="fr-CH" sz="2400" dirty="0" err="1"/>
              <a:t>Results</a:t>
            </a:r>
            <a:r>
              <a:rPr lang="fr-CH" sz="2400" dirty="0"/>
              <a:t> </a:t>
            </a:r>
          </a:p>
          <a:p>
            <a:r>
              <a:rPr lang="fr-CH" sz="2400" dirty="0"/>
              <a:t>Valuatio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Presentation</a:t>
            </a:r>
            <a:r>
              <a:rPr lang="fr-CH" dirty="0"/>
              <a:t> of the </a:t>
            </a:r>
            <a:r>
              <a:rPr lang="fr-CH" dirty="0" err="1"/>
              <a:t>project</a:t>
            </a:r>
            <a:br>
              <a:rPr lang="fr-CH" dirty="0">
                <a:solidFill>
                  <a:srgbClr val="00B0F0"/>
                </a:solidFill>
              </a:rPr>
            </a:br>
            <a:r>
              <a:rPr lang="fr-CH" dirty="0"/>
              <a:t>—</a:t>
            </a: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9F8499DF-CB61-4020-BC7F-02C937981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r>
              <a:rPr lang="fr-CH" dirty="0" err="1"/>
              <a:t>Context</a:t>
            </a:r>
            <a:r>
              <a:rPr lang="fr-CH" dirty="0"/>
              <a:t> / Challenge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A75AD644-A7DE-4F20-8545-0A69CA4762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656339"/>
              </p:ext>
            </p:extLst>
          </p:nvPr>
        </p:nvGraphicFramePr>
        <p:xfrm>
          <a:off x="6920184" y="4437112"/>
          <a:ext cx="4694312" cy="1608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6160">
                  <a:extLst>
                    <a:ext uri="{9D8B030D-6E8A-4147-A177-3AD203B41FA5}">
                      <a16:colId xmlns:a16="http://schemas.microsoft.com/office/drawing/2014/main" val="2283373342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664966737"/>
                    </a:ext>
                  </a:extLst>
                </a:gridCol>
              </a:tblGrid>
              <a:tr h="402058">
                <a:tc>
                  <a:txBody>
                    <a:bodyPr/>
                    <a:lstStyle/>
                    <a:p>
                      <a:r>
                        <a:rPr lang="fr-CH" sz="1400" b="1" dirty="0">
                          <a:solidFill>
                            <a:sysClr val="windowText" lastClr="000000"/>
                          </a:solidFill>
                        </a:rPr>
                        <a:t>Total </a:t>
                      </a:r>
                      <a:r>
                        <a:rPr lang="fr-CH" sz="1400" b="1" dirty="0" err="1">
                          <a:solidFill>
                            <a:sysClr val="windowText" lastClr="000000"/>
                          </a:solidFill>
                        </a:rPr>
                        <a:t>project</a:t>
                      </a:r>
                      <a:r>
                        <a:rPr lang="fr-CH" sz="1400" b="1" dirty="0">
                          <a:solidFill>
                            <a:sysClr val="windowText" lastClr="000000"/>
                          </a:solidFill>
                        </a:rPr>
                        <a:t> bud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b="1" dirty="0">
                          <a:solidFill>
                            <a:sysClr val="windowText" lastClr="000000"/>
                          </a:solidFill>
                        </a:rPr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86772807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/>
                        <a:t>NRP </a:t>
                      </a:r>
                      <a:r>
                        <a:rPr lang="fr-CH" sz="1400" dirty="0" err="1"/>
                        <a:t>funding</a:t>
                      </a:r>
                      <a:endParaRPr lang="fr-CH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297282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/>
                        <a:t>Cash </a:t>
                      </a:r>
                      <a:r>
                        <a:rPr lang="fr-CH" sz="1400" dirty="0" err="1"/>
                        <a:t>from</a:t>
                      </a:r>
                      <a:r>
                        <a:rPr lang="fr-CH" sz="1400" dirty="0"/>
                        <a:t> </a:t>
                      </a:r>
                      <a:r>
                        <a:rPr lang="fr-CH" sz="1400" dirty="0" err="1"/>
                        <a:t>partners</a:t>
                      </a:r>
                      <a:endParaRPr lang="fr-CH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95403506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 err="1"/>
                        <a:t>Partners</a:t>
                      </a:r>
                      <a:r>
                        <a:rPr lang="fr-CH" sz="1400" dirty="0"/>
                        <a:t>’ </a:t>
                      </a:r>
                      <a:r>
                        <a:rPr lang="fr-CH" sz="1400" dirty="0" err="1"/>
                        <a:t>own</a:t>
                      </a:r>
                      <a:r>
                        <a:rPr lang="fr-CH" sz="1400" dirty="0"/>
                        <a:t> servic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586534"/>
                  </a:ext>
                </a:extLst>
              </a:tr>
            </a:tbl>
          </a:graphicData>
        </a:graphic>
      </p:graphicFrame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5C23A37C-5D3A-4E0E-B419-1A49BC6FE176}"/>
              </a:ext>
            </a:extLst>
          </p:cNvPr>
          <p:cNvSpPr txBox="1">
            <a:spLocks/>
          </p:cNvSpPr>
          <p:nvPr/>
        </p:nvSpPr>
        <p:spPr bwMode="auto">
          <a:xfrm>
            <a:off x="577503" y="2932548"/>
            <a:ext cx="109897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Main objectiv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3F87F6-20D5-46BD-A4F9-F025F77B1C94}"/>
              </a:ext>
            </a:extLst>
          </p:cNvPr>
          <p:cNvSpPr txBox="1">
            <a:spLocks/>
          </p:cNvSpPr>
          <p:nvPr/>
        </p:nvSpPr>
        <p:spPr bwMode="auto">
          <a:xfrm>
            <a:off x="6920184" y="1327800"/>
            <a:ext cx="548640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 err="1"/>
              <a:t>Partners</a:t>
            </a:r>
            <a:endParaRPr lang="fr-CH" dirty="0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B38F9A26-BAFC-4D44-899A-86861BC1B5D7}"/>
              </a:ext>
            </a:extLst>
          </p:cNvPr>
          <p:cNvSpPr txBox="1">
            <a:spLocks/>
          </p:cNvSpPr>
          <p:nvPr/>
        </p:nvSpPr>
        <p:spPr bwMode="auto">
          <a:xfrm>
            <a:off x="6920184" y="3925452"/>
            <a:ext cx="464705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Budget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05F7A088-AB83-4536-977C-BAE8B220A093}"/>
              </a:ext>
            </a:extLst>
          </p:cNvPr>
          <p:cNvSpPr txBox="1">
            <a:spLocks/>
          </p:cNvSpPr>
          <p:nvPr/>
        </p:nvSpPr>
        <p:spPr bwMode="auto">
          <a:xfrm>
            <a:off x="577504" y="5100036"/>
            <a:ext cx="109897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Project start/end dates</a:t>
            </a:r>
          </a:p>
        </p:txBody>
      </p:sp>
    </p:spTree>
    <p:extLst>
      <p:ext uri="{BB962C8B-B14F-4D97-AF65-F5344CB8AC3E}">
        <p14:creationId xmlns:p14="http://schemas.microsoft.com/office/powerpoint/2010/main" val="4255451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Main </a:t>
            </a:r>
            <a:r>
              <a:rPr lang="fr-CH" dirty="0" err="1"/>
              <a:t>results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916832"/>
            <a:ext cx="8242300" cy="692497"/>
          </a:xfrm>
        </p:spPr>
        <p:txBody>
          <a:bodyPr/>
          <a:lstStyle/>
          <a:p>
            <a:r>
              <a:rPr lang="fr-CH" dirty="0">
                <a:solidFill>
                  <a:srgbClr val="00B0F0"/>
                </a:solidFill>
              </a:rPr>
              <a:t>Name the 2-3 main </a:t>
            </a:r>
            <a:r>
              <a:rPr lang="fr-CH" dirty="0" err="1">
                <a:solidFill>
                  <a:srgbClr val="00B0F0"/>
                </a:solidFill>
              </a:rPr>
              <a:t>results</a:t>
            </a:r>
            <a:r>
              <a:rPr lang="fr-CH" dirty="0">
                <a:solidFill>
                  <a:srgbClr val="00B0F0"/>
                </a:solidFill>
              </a:rPr>
              <a:t>/</a:t>
            </a:r>
            <a:r>
              <a:rPr lang="fr-CH" dirty="0" err="1">
                <a:solidFill>
                  <a:srgbClr val="00B0F0"/>
                </a:solidFill>
              </a:rPr>
              <a:t>deliverables</a:t>
            </a:r>
            <a:endParaRPr lang="fr-CH" dirty="0">
              <a:solidFill>
                <a:srgbClr val="00B0F0"/>
              </a:solidFill>
            </a:endParaRPr>
          </a:p>
          <a:p>
            <a:r>
              <a:rPr lang="fr-CH" dirty="0" err="1">
                <a:solidFill>
                  <a:srgbClr val="00B0F0"/>
                </a:solidFill>
              </a:rPr>
              <a:t>Illustrate</a:t>
            </a:r>
            <a:r>
              <a:rPr lang="fr-CH" dirty="0">
                <a:solidFill>
                  <a:srgbClr val="00B0F0"/>
                </a:solidFill>
              </a:rPr>
              <a:t> </a:t>
            </a:r>
            <a:r>
              <a:rPr lang="fr-CH" dirty="0" err="1">
                <a:solidFill>
                  <a:srgbClr val="00B0F0"/>
                </a:solidFill>
              </a:rPr>
              <a:t>with</a:t>
            </a:r>
            <a:r>
              <a:rPr lang="fr-CH" dirty="0">
                <a:solidFill>
                  <a:srgbClr val="00B0F0"/>
                </a:solidFill>
              </a:rPr>
              <a:t> images, </a:t>
            </a:r>
            <a:r>
              <a:rPr lang="fr-CH" dirty="0" err="1">
                <a:solidFill>
                  <a:srgbClr val="00B0F0"/>
                </a:solidFill>
              </a:rPr>
              <a:t>pictures</a:t>
            </a:r>
            <a:r>
              <a:rPr lang="fr-CH" dirty="0">
                <a:solidFill>
                  <a:srgbClr val="00B0F0"/>
                </a:solidFill>
              </a:rPr>
              <a:t>….</a:t>
            </a:r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id="{2FA4D288-986E-4756-81E1-26B1E51379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r>
              <a:rPr lang="fr-CH" dirty="0" err="1"/>
              <a:t>Subtitle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205667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In </a:t>
            </a:r>
            <a:r>
              <a:rPr lang="fr-CH" dirty="0" err="1"/>
              <a:t>summary</a:t>
            </a:r>
            <a:r>
              <a:rPr lang="fr-CH" dirty="0"/>
              <a:t> – </a:t>
            </a:r>
            <a:r>
              <a:rPr lang="fr-CH" dirty="0" err="1"/>
              <a:t>Expected</a:t>
            </a:r>
            <a:r>
              <a:rPr lang="fr-CH" dirty="0"/>
              <a:t> </a:t>
            </a:r>
            <a:r>
              <a:rPr lang="fr-CH" dirty="0" err="1"/>
              <a:t>results</a:t>
            </a:r>
            <a:r>
              <a:rPr lang="fr-CH" dirty="0"/>
              <a:t> and </a:t>
            </a:r>
            <a:r>
              <a:rPr lang="fr-CH" dirty="0" err="1"/>
              <a:t>effects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10989733" cy="307777"/>
          </a:xfrm>
        </p:spPr>
        <p:txBody>
          <a:bodyPr/>
          <a:lstStyle/>
          <a:p>
            <a:r>
              <a:rPr lang="fr-CH" dirty="0" err="1">
                <a:solidFill>
                  <a:srgbClr val="00A0DB"/>
                </a:solidFill>
              </a:rPr>
              <a:t>Resume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efficiency</a:t>
            </a:r>
            <a:r>
              <a:rPr lang="fr-CH" dirty="0">
                <a:solidFill>
                  <a:srgbClr val="00A0DB"/>
                </a:solidFill>
              </a:rPr>
              <a:t> model </a:t>
            </a:r>
            <a:r>
              <a:rPr lang="fr-CH" dirty="0" err="1">
                <a:solidFill>
                  <a:srgbClr val="00A0DB"/>
                </a:solidFill>
              </a:rPr>
              <a:t>from</a:t>
            </a:r>
            <a:r>
              <a:rPr lang="fr-CH" dirty="0">
                <a:solidFill>
                  <a:srgbClr val="00A0DB"/>
                </a:solidFill>
              </a:rPr>
              <a:t> the </a:t>
            </a:r>
            <a:r>
              <a:rPr lang="fr-CH" dirty="0" err="1">
                <a:solidFill>
                  <a:srgbClr val="00A0DB"/>
                </a:solidFill>
              </a:rPr>
              <a:t>funding</a:t>
            </a:r>
            <a:r>
              <a:rPr lang="fr-CH" dirty="0">
                <a:solidFill>
                  <a:srgbClr val="00A0DB"/>
                </a:solidFill>
              </a:rPr>
              <a:t> application and </a:t>
            </a:r>
            <a:r>
              <a:rPr lang="fr-CH" dirty="0" err="1">
                <a:solidFill>
                  <a:srgbClr val="00A0DB"/>
                </a:solidFill>
              </a:rPr>
              <a:t>give</a:t>
            </a:r>
            <a:r>
              <a:rPr lang="fr-CH" dirty="0">
                <a:solidFill>
                  <a:srgbClr val="00A0DB"/>
                </a:solidFill>
              </a:rPr>
              <a:t> the </a:t>
            </a:r>
            <a:r>
              <a:rPr lang="fr-CH" dirty="0" err="1">
                <a:solidFill>
                  <a:srgbClr val="00A0DB"/>
                </a:solidFill>
              </a:rPr>
              <a:t>status</a:t>
            </a:r>
            <a:r>
              <a:rPr lang="fr-CH" dirty="0">
                <a:solidFill>
                  <a:srgbClr val="00A0DB"/>
                </a:solidFill>
              </a:rPr>
              <a:t> 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 err="1"/>
              <a:t>Subtitle</a:t>
            </a:r>
            <a:endParaRPr lang="fr-CH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31821BAF-164E-4AAD-AD37-8B335D05EA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5386966"/>
              </p:ext>
            </p:extLst>
          </p:nvPr>
        </p:nvGraphicFramePr>
        <p:xfrm>
          <a:off x="609599" y="2409806"/>
          <a:ext cx="10989735" cy="29753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49418">
                  <a:extLst>
                    <a:ext uri="{9D8B030D-6E8A-4147-A177-3AD203B41FA5}">
                      <a16:colId xmlns:a16="http://schemas.microsoft.com/office/drawing/2014/main" val="802445677"/>
                    </a:ext>
                  </a:extLst>
                </a:gridCol>
                <a:gridCol w="2030487">
                  <a:extLst>
                    <a:ext uri="{9D8B030D-6E8A-4147-A177-3AD203B41FA5}">
                      <a16:colId xmlns:a16="http://schemas.microsoft.com/office/drawing/2014/main" val="1897089101"/>
                    </a:ext>
                  </a:extLst>
                </a:gridCol>
                <a:gridCol w="2242062">
                  <a:extLst>
                    <a:ext uri="{9D8B030D-6E8A-4147-A177-3AD203B41FA5}">
                      <a16:colId xmlns:a16="http://schemas.microsoft.com/office/drawing/2014/main" val="530772464"/>
                    </a:ext>
                  </a:extLst>
                </a:gridCol>
                <a:gridCol w="1432786">
                  <a:extLst>
                    <a:ext uri="{9D8B030D-6E8A-4147-A177-3AD203B41FA5}">
                      <a16:colId xmlns:a16="http://schemas.microsoft.com/office/drawing/2014/main" val="524076930"/>
                    </a:ext>
                  </a:extLst>
                </a:gridCol>
                <a:gridCol w="2334982">
                  <a:extLst>
                    <a:ext uri="{9D8B030D-6E8A-4147-A177-3AD203B41FA5}">
                      <a16:colId xmlns:a16="http://schemas.microsoft.com/office/drawing/2014/main" val="4018860209"/>
                    </a:ext>
                  </a:extLst>
                </a:gridCol>
              </a:tblGrid>
              <a:tr h="37112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Description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dicator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Target values </a:t>
                      </a: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indicator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24406819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066674"/>
                  </a:ext>
                </a:extLst>
              </a:tr>
              <a:tr h="390007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Result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outputs)</a:t>
                      </a: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003847122"/>
                  </a:ext>
                </a:extLst>
              </a:tr>
              <a:tr h="390007">
                <a:tc vMerge="1">
                  <a:txBody>
                    <a:bodyPr/>
                    <a:lstStyle/>
                    <a:p>
                      <a:endParaRPr lang="fr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858963607"/>
                  </a:ext>
                </a:extLst>
              </a:tr>
              <a:tr h="390007">
                <a:tc vMerge="1">
                  <a:txBody>
                    <a:bodyPr/>
                    <a:lstStyle/>
                    <a:p>
                      <a:endParaRPr lang="fr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056053178"/>
                  </a:ext>
                </a:extLst>
              </a:tr>
              <a:tr h="13414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1453878"/>
                  </a:ext>
                </a:extLst>
              </a:tr>
              <a:tr h="546008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Expected</a:t>
                      </a: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fr-CH" sz="1400" dirty="0" err="1">
                          <a:solidFill>
                            <a:schemeClr val="tx1"/>
                          </a:solidFill>
                          <a:effectLst/>
                        </a:rPr>
                        <a:t>effect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fr-CH" sz="14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utcomes</a:t>
                      </a: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973058041"/>
                  </a:ext>
                </a:extLst>
              </a:tr>
              <a:tr h="546008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40293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8494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Valuatio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10989733" cy="692497"/>
          </a:xfrm>
        </p:spPr>
        <p:txBody>
          <a:bodyPr/>
          <a:lstStyle/>
          <a:p>
            <a:r>
              <a:rPr lang="fr-CH" dirty="0" err="1">
                <a:solidFill>
                  <a:srgbClr val="00A0DB"/>
                </a:solidFill>
              </a:rPr>
              <a:t>Include</a:t>
            </a:r>
            <a:r>
              <a:rPr lang="fr-CH" dirty="0">
                <a:solidFill>
                  <a:srgbClr val="00A0DB"/>
                </a:solidFill>
              </a:rPr>
              <a:t> the valuation </a:t>
            </a:r>
            <a:r>
              <a:rPr lang="fr-CH" dirty="0" err="1">
                <a:solidFill>
                  <a:srgbClr val="00A0DB"/>
                </a:solidFill>
              </a:rPr>
              <a:t>provided</a:t>
            </a:r>
            <a:r>
              <a:rPr lang="fr-CH" dirty="0">
                <a:solidFill>
                  <a:srgbClr val="00A0DB"/>
                </a:solidFill>
              </a:rPr>
              <a:t> in the </a:t>
            </a:r>
            <a:r>
              <a:rPr lang="fr-CH" dirty="0" err="1">
                <a:solidFill>
                  <a:srgbClr val="00A0DB"/>
                </a:solidFill>
              </a:rPr>
              <a:t>funding</a:t>
            </a:r>
            <a:r>
              <a:rPr lang="fr-CH" dirty="0">
                <a:solidFill>
                  <a:srgbClr val="00A0DB"/>
                </a:solidFill>
              </a:rPr>
              <a:t> application and </a:t>
            </a:r>
            <a:r>
              <a:rPr lang="fr-CH" dirty="0" err="1">
                <a:solidFill>
                  <a:srgbClr val="00A0DB"/>
                </a:solidFill>
              </a:rPr>
              <a:t>give</a:t>
            </a:r>
            <a:r>
              <a:rPr lang="fr-CH" dirty="0">
                <a:solidFill>
                  <a:srgbClr val="00A0DB"/>
                </a:solidFill>
              </a:rPr>
              <a:t> the </a:t>
            </a:r>
            <a:r>
              <a:rPr lang="fr-CH" dirty="0" err="1">
                <a:solidFill>
                  <a:srgbClr val="00A0DB"/>
                </a:solidFill>
              </a:rPr>
              <a:t>status</a:t>
            </a:r>
            <a:endParaRPr lang="fr-CH" dirty="0">
              <a:solidFill>
                <a:srgbClr val="00A0DB"/>
              </a:solidFill>
            </a:endParaRPr>
          </a:p>
          <a:p>
            <a:r>
              <a:rPr lang="fr-CH" dirty="0">
                <a:solidFill>
                  <a:srgbClr val="00A0DB"/>
                </a:solidFill>
              </a:rPr>
              <a:t>Valuation by </a:t>
            </a:r>
            <a:r>
              <a:rPr lang="fr-CH" dirty="0" err="1">
                <a:solidFill>
                  <a:srgbClr val="00A0DB"/>
                </a:solidFill>
              </a:rPr>
              <a:t>companies</a:t>
            </a:r>
            <a:r>
              <a:rPr lang="fr-CH" dirty="0">
                <a:solidFill>
                  <a:srgbClr val="00A0DB"/>
                </a:solidFill>
              </a:rPr>
              <a:t> and </a:t>
            </a:r>
            <a:r>
              <a:rPr lang="fr-CH" dirty="0" err="1">
                <a:solidFill>
                  <a:srgbClr val="00A0DB"/>
                </a:solidFill>
              </a:rPr>
              <a:t>academic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partners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CH" dirty="0" err="1"/>
              <a:t>Subtitle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10285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09600" y="1327800"/>
            <a:ext cx="10989733" cy="553998"/>
          </a:xfrm>
        </p:spPr>
        <p:txBody>
          <a:bodyPr/>
          <a:lstStyle/>
          <a:p>
            <a:r>
              <a:rPr lang="fr-CH" sz="3600" dirty="0" err="1">
                <a:solidFill>
                  <a:schemeClr val="tx1"/>
                </a:solidFill>
              </a:rPr>
              <a:t>Thanks</a:t>
            </a:r>
            <a:r>
              <a:rPr lang="fr-CH" sz="3600" dirty="0">
                <a:solidFill>
                  <a:schemeClr val="tx1"/>
                </a:solidFill>
              </a:rPr>
              <a:t> for </a:t>
            </a:r>
            <a:r>
              <a:rPr lang="fr-CH" sz="3600" dirty="0" err="1">
                <a:solidFill>
                  <a:schemeClr val="tx1"/>
                </a:solidFill>
              </a:rPr>
              <a:t>your</a:t>
            </a:r>
            <a:r>
              <a:rPr lang="fr-CH" sz="3600" dirty="0">
                <a:solidFill>
                  <a:schemeClr val="tx1"/>
                </a:solidFill>
              </a:rPr>
              <a:t> attention</a:t>
            </a: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30D0AB66-CE03-4AE1-8476-D31D02376E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375920" y="3573016"/>
            <a:ext cx="5832648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/>
              <a:t>Contact person:</a:t>
            </a:r>
          </a:p>
          <a:p>
            <a:pPr marL="531812" lvl="3" indent="0">
              <a:buFont typeface="Arial"/>
              <a:buNone/>
            </a:pPr>
            <a:r>
              <a:rPr lang="fr-CH"/>
              <a:t>First name and Name of project leader</a:t>
            </a:r>
          </a:p>
          <a:p>
            <a:pPr marL="531812" lvl="3" indent="0">
              <a:buFont typeface="Arial"/>
              <a:buNone/>
            </a:pPr>
            <a:r>
              <a:rPr lang="fr-CH"/>
              <a:t>Entity, function</a:t>
            </a:r>
          </a:p>
          <a:p>
            <a:pPr marL="531812" lvl="3" indent="0">
              <a:buFont typeface="Arial"/>
              <a:buNone/>
            </a:pPr>
            <a:r>
              <a:rPr lang="fr-CH"/>
              <a:t>Email address</a:t>
            </a:r>
          </a:p>
          <a:p>
            <a:pPr marL="531812" lvl="3" indent="0">
              <a:buFont typeface="Arial"/>
              <a:buNone/>
            </a:pPr>
            <a:r>
              <a:rPr lang="fr-CH"/>
              <a:t>Phone number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732964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8AnYFRkECT4xTGrsNT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heme/theme1.xml><?xml version="1.0" encoding="utf-8"?>
<a:theme xmlns:a="http://schemas.openxmlformats.org/drawingml/2006/main" name="pp_etat_fribourg_en_bas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4F2D85F1E8A244A92F84286B71EB85" ma:contentTypeVersion="1" ma:contentTypeDescription="Create a new document." ma:contentTypeScope="" ma:versionID="404aaa04f78874d85faddae0b79d0c01">
  <xsd:schema xmlns:xsd="http://www.w3.org/2001/XMLSchema" xmlns:xs="http://www.w3.org/2001/XMLSchema" xmlns:p="http://schemas.microsoft.com/office/2006/metadata/properties" xmlns:ns2="16cccf87-4c18-4fc1-bb18-31b3485ec9c0" xmlns:ns3="76584b67-a7e9-4a55-be01-8955a44b6edb" targetNamespace="http://schemas.microsoft.com/office/2006/metadata/properties" ma:root="true" ma:fieldsID="91d440d05d29d3d9d9d2ba403ad87667" ns2:_="" ns3:_="">
    <xsd:import namespace="16cccf87-4c18-4fc1-bb18-31b3485ec9c0"/>
    <xsd:import namespace="76584b67-a7e9-4a55-be01-8955a44b6ed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ccf87-4c18-4fc1-bb18-31b3485ec9c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584b67-a7e9-4a55-be01-8955a44b6edb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6584b67-a7e9-4a55-be01-8955a44b6edb">6424TND5UH7S-445532662-338</_dlc_DocId>
    <_dlc_DocIdUrl xmlns="76584b67-a7e9-4a55-be01-8955a44b6edb">
      <Url>https://projet.hefr.ch/sites/Inno20-23/_layouts/15/DocIdRedir.aspx?ID=6424TND5UH7S-445532662-338</Url>
      <Description>6424TND5UH7S-445532662-338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121C2E53-CE46-476C-A94A-DAB993B07079}"/>
</file>

<file path=customXml/itemProps2.xml><?xml version="1.0" encoding="utf-8"?>
<ds:datastoreItem xmlns:ds="http://schemas.openxmlformats.org/officeDocument/2006/customXml" ds:itemID="{2DCF5D2B-3932-462E-9C09-F84599A3287B}"/>
</file>

<file path=customXml/itemProps3.xml><?xml version="1.0" encoding="utf-8"?>
<ds:datastoreItem xmlns:ds="http://schemas.openxmlformats.org/officeDocument/2006/customXml" ds:itemID="{B68D7E05-D642-4901-96CD-ED0C8C7F2378}"/>
</file>

<file path=customXml/itemProps4.xml><?xml version="1.0" encoding="utf-8"?>
<ds:datastoreItem xmlns:ds="http://schemas.openxmlformats.org/officeDocument/2006/customXml" ds:itemID="{94589B84-0AF2-46D7-8E9B-95C6BEE3EFC2}"/>
</file>

<file path=docProps/app.xml><?xml version="1.0" encoding="utf-8"?>
<Properties xmlns="http://schemas.openxmlformats.org/officeDocument/2006/extended-properties" xmlns:vt="http://schemas.openxmlformats.org/officeDocument/2006/docPropsVTypes">
  <Template>pp_promfr_10_11_2010_de_fr</Template>
  <TotalTime>0</TotalTime>
  <Words>284</Words>
  <Application>Microsoft Office PowerPoint</Application>
  <PresentationFormat>Grand écran</PresentationFormat>
  <Paragraphs>88</Paragraphs>
  <Slides>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5" baseType="lpstr">
      <vt:lpstr>ＭＳ Ｐゴシック</vt:lpstr>
      <vt:lpstr>Arial</vt:lpstr>
      <vt:lpstr>Calibri</vt:lpstr>
      <vt:lpstr>Lucida Grande</vt:lpstr>
      <vt:lpstr>Times New Roman</vt:lpstr>
      <vt:lpstr>pp_etat_fribourg_en_bas</vt:lpstr>
      <vt:lpstr>think-cell Slide</vt:lpstr>
      <vt:lpstr>Presentation of the results of the collaborative project Project title Acronym :  —</vt:lpstr>
      <vt:lpstr>Information for the presenters (slide to be deleted)</vt:lpstr>
      <vt:lpstr>Summary —</vt:lpstr>
      <vt:lpstr>Presentation of the project —</vt:lpstr>
      <vt:lpstr>Main results —</vt:lpstr>
      <vt:lpstr>In summary – Expected results and effects —</vt:lpstr>
      <vt:lpstr>Valuation —</vt:lpstr>
      <vt:lpstr> —</vt:lpstr>
    </vt:vector>
  </TitlesOfParts>
  <Company>o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Oberson Bernadette</dc:creator>
  <cp:lastModifiedBy>Casteran Claire</cp:lastModifiedBy>
  <cp:revision>37</cp:revision>
  <cp:lastPrinted>2010-03-18T08:00:30Z</cp:lastPrinted>
  <dcterms:created xsi:type="dcterms:W3CDTF">2021-02-02T14:31:30Z</dcterms:created>
  <dcterms:modified xsi:type="dcterms:W3CDTF">2021-06-28T09:14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4F2D85F1E8A244A92F84286B71EB85</vt:lpwstr>
  </property>
  <property fmtid="{D5CDD505-2E9C-101B-9397-08002B2CF9AE}" pid="3" name="_dlc_DocIdItemGuid">
    <vt:lpwstr>1dfeb6eb-ecfd-4c4d-b50c-5b208d3b3012</vt:lpwstr>
  </property>
</Properties>
</file>